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032942-21BC-43EF-B726-11AE8B797ED9}" v="49" dt="2023-03-13T22:21:41.8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94" d="100"/>
          <a:sy n="94" d="100"/>
        </p:scale>
        <p:origin x="108" y="822"/>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38032942-21BC-43EF-B726-11AE8B797ED9}"/>
    <pc:docChg chg="modSld">
      <pc:chgData name="Roberto Gallardo" userId="49a044883f185952" providerId="LiveId" clId="{38032942-21BC-43EF-B726-11AE8B797ED9}" dt="2023-03-13T22:21:54.622" v="242" actId="1036"/>
      <pc:docMkLst>
        <pc:docMk/>
      </pc:docMkLst>
      <pc:sldChg chg="addSp modSp mod">
        <pc:chgData name="Roberto Gallardo" userId="49a044883f185952" providerId="LiveId" clId="{38032942-21BC-43EF-B726-11AE8B797ED9}" dt="2023-03-13T22:16:57.300" v="10" actId="1035"/>
        <pc:sldMkLst>
          <pc:docMk/>
          <pc:sldMk cId="1418533539" sldId="271"/>
        </pc:sldMkLst>
        <pc:picChg chg="add mod">
          <ac:chgData name="Roberto Gallardo" userId="49a044883f185952" providerId="LiveId" clId="{38032942-21BC-43EF-B726-11AE8B797ED9}" dt="2023-03-13T22:16:57.300" v="10" actId="1035"/>
          <ac:picMkLst>
            <pc:docMk/>
            <pc:sldMk cId="1418533539" sldId="271"/>
            <ac:picMk id="6" creationId="{738480D9-ED63-0CEE-3C33-C006A155C931}"/>
          </ac:picMkLst>
        </pc:picChg>
      </pc:sldChg>
      <pc:sldChg chg="addSp modSp mod">
        <pc:chgData name="Roberto Gallardo" userId="49a044883f185952" providerId="LiveId" clId="{38032942-21BC-43EF-B726-11AE8B797ED9}" dt="2023-03-13T22:18:41.541" v="67" actId="1076"/>
        <pc:sldMkLst>
          <pc:docMk/>
          <pc:sldMk cId="2124848710" sldId="281"/>
        </pc:sldMkLst>
        <pc:picChg chg="add mod">
          <ac:chgData name="Roberto Gallardo" userId="49a044883f185952" providerId="LiveId" clId="{38032942-21BC-43EF-B726-11AE8B797ED9}" dt="2023-03-13T22:18:41.541" v="67" actId="1076"/>
          <ac:picMkLst>
            <pc:docMk/>
            <pc:sldMk cId="2124848710" sldId="281"/>
            <ac:picMk id="6" creationId="{BEF778FC-63D0-5219-412C-3432534B18C1}"/>
          </ac:picMkLst>
        </pc:picChg>
      </pc:sldChg>
      <pc:sldChg chg="addSp modSp mod">
        <pc:chgData name="Roberto Gallardo" userId="49a044883f185952" providerId="LiveId" clId="{38032942-21BC-43EF-B726-11AE8B797ED9}" dt="2023-03-13T22:18:55.381" v="76" actId="1076"/>
        <pc:sldMkLst>
          <pc:docMk/>
          <pc:sldMk cId="2028175529" sldId="282"/>
        </pc:sldMkLst>
        <pc:picChg chg="add mod">
          <ac:chgData name="Roberto Gallardo" userId="49a044883f185952" providerId="LiveId" clId="{38032942-21BC-43EF-B726-11AE8B797ED9}" dt="2023-03-13T22:18:55.381" v="76" actId="1076"/>
          <ac:picMkLst>
            <pc:docMk/>
            <pc:sldMk cId="2028175529" sldId="282"/>
            <ac:picMk id="7" creationId="{7694166A-A498-F0BE-50BB-BD5C333EB0A1}"/>
          </ac:picMkLst>
        </pc:picChg>
      </pc:sldChg>
      <pc:sldChg chg="addSp modSp mod">
        <pc:chgData name="Roberto Gallardo" userId="49a044883f185952" providerId="LiveId" clId="{38032942-21BC-43EF-B726-11AE8B797ED9}" dt="2023-03-13T22:19:10.912" v="97" actId="1036"/>
        <pc:sldMkLst>
          <pc:docMk/>
          <pc:sldMk cId="1326517747" sldId="283"/>
        </pc:sldMkLst>
        <pc:picChg chg="add mod">
          <ac:chgData name="Roberto Gallardo" userId="49a044883f185952" providerId="LiveId" clId="{38032942-21BC-43EF-B726-11AE8B797ED9}" dt="2023-03-13T22:19:10.912" v="97" actId="1036"/>
          <ac:picMkLst>
            <pc:docMk/>
            <pc:sldMk cId="1326517747" sldId="283"/>
            <ac:picMk id="7" creationId="{E8079F3D-C411-5367-0638-FDEEDA63F8C2}"/>
          </ac:picMkLst>
        </pc:picChg>
      </pc:sldChg>
      <pc:sldChg chg="addSp modSp mod">
        <pc:chgData name="Roberto Gallardo" userId="49a044883f185952" providerId="LiveId" clId="{38032942-21BC-43EF-B726-11AE8B797ED9}" dt="2023-03-13T22:19:25.357" v="106" actId="1076"/>
        <pc:sldMkLst>
          <pc:docMk/>
          <pc:sldMk cId="783739251" sldId="284"/>
        </pc:sldMkLst>
        <pc:picChg chg="add mod">
          <ac:chgData name="Roberto Gallardo" userId="49a044883f185952" providerId="LiveId" clId="{38032942-21BC-43EF-B726-11AE8B797ED9}" dt="2023-03-13T22:19:25.357" v="106" actId="1076"/>
          <ac:picMkLst>
            <pc:docMk/>
            <pc:sldMk cId="783739251" sldId="284"/>
            <ac:picMk id="7" creationId="{A31CF2A6-6CD5-5D33-823B-B3060957EC76}"/>
          </ac:picMkLst>
        </pc:picChg>
      </pc:sldChg>
      <pc:sldChg chg="addSp modSp mod">
        <pc:chgData name="Roberto Gallardo" userId="49a044883f185952" providerId="LiveId" clId="{38032942-21BC-43EF-B726-11AE8B797ED9}" dt="2023-03-13T22:19:45.685" v="117" actId="1076"/>
        <pc:sldMkLst>
          <pc:docMk/>
          <pc:sldMk cId="1676122233" sldId="285"/>
        </pc:sldMkLst>
        <pc:picChg chg="add mod">
          <ac:chgData name="Roberto Gallardo" userId="49a044883f185952" providerId="LiveId" clId="{38032942-21BC-43EF-B726-11AE8B797ED9}" dt="2023-03-13T22:19:45.685" v="117" actId="1076"/>
          <ac:picMkLst>
            <pc:docMk/>
            <pc:sldMk cId="1676122233" sldId="285"/>
            <ac:picMk id="7" creationId="{0327953F-A6C8-9541-C521-EC005B93CB2C}"/>
          </ac:picMkLst>
        </pc:picChg>
      </pc:sldChg>
      <pc:sldChg chg="addSp modSp mod">
        <pc:chgData name="Roberto Gallardo" userId="49a044883f185952" providerId="LiveId" clId="{38032942-21BC-43EF-B726-11AE8B797ED9}" dt="2023-03-13T22:20:02.933" v="126" actId="1076"/>
        <pc:sldMkLst>
          <pc:docMk/>
          <pc:sldMk cId="3100398757" sldId="286"/>
        </pc:sldMkLst>
        <pc:picChg chg="add mod">
          <ac:chgData name="Roberto Gallardo" userId="49a044883f185952" providerId="LiveId" clId="{38032942-21BC-43EF-B726-11AE8B797ED9}" dt="2023-03-13T22:20:02.933" v="126" actId="1076"/>
          <ac:picMkLst>
            <pc:docMk/>
            <pc:sldMk cId="3100398757" sldId="286"/>
            <ac:picMk id="7" creationId="{6F9D4DDF-FA4E-3E04-334D-33FCAD860AFB}"/>
          </ac:picMkLst>
        </pc:picChg>
      </pc:sldChg>
      <pc:sldChg chg="addSp modSp mod">
        <pc:chgData name="Roberto Gallardo" userId="49a044883f185952" providerId="LiveId" clId="{38032942-21BC-43EF-B726-11AE8B797ED9}" dt="2023-03-13T22:20:16.489" v="135" actId="1076"/>
        <pc:sldMkLst>
          <pc:docMk/>
          <pc:sldMk cId="1546475425" sldId="287"/>
        </pc:sldMkLst>
        <pc:picChg chg="add mod">
          <ac:chgData name="Roberto Gallardo" userId="49a044883f185952" providerId="LiveId" clId="{38032942-21BC-43EF-B726-11AE8B797ED9}" dt="2023-03-13T22:20:16.489" v="135" actId="1076"/>
          <ac:picMkLst>
            <pc:docMk/>
            <pc:sldMk cId="1546475425" sldId="287"/>
            <ac:picMk id="7" creationId="{CD1BEAD2-1D64-8F88-A8AE-F261E12D47FA}"/>
          </ac:picMkLst>
        </pc:picChg>
      </pc:sldChg>
      <pc:sldChg chg="addSp modSp mod">
        <pc:chgData name="Roberto Gallardo" userId="49a044883f185952" providerId="LiveId" clId="{38032942-21BC-43EF-B726-11AE8B797ED9}" dt="2023-03-13T22:20:44.546" v="155" actId="1076"/>
        <pc:sldMkLst>
          <pc:docMk/>
          <pc:sldMk cId="1380517306" sldId="288"/>
        </pc:sldMkLst>
        <pc:picChg chg="add mod">
          <ac:chgData name="Roberto Gallardo" userId="49a044883f185952" providerId="LiveId" clId="{38032942-21BC-43EF-B726-11AE8B797ED9}" dt="2023-03-13T22:20:44.546" v="155" actId="1076"/>
          <ac:picMkLst>
            <pc:docMk/>
            <pc:sldMk cId="1380517306" sldId="288"/>
            <ac:picMk id="7" creationId="{45DB244B-D4B1-CB2F-A2B2-2B50BE85E252}"/>
          </ac:picMkLst>
        </pc:picChg>
      </pc:sldChg>
      <pc:sldChg chg="addSp modSp mod">
        <pc:chgData name="Roberto Gallardo" userId="49a044883f185952" providerId="LiveId" clId="{38032942-21BC-43EF-B726-11AE8B797ED9}" dt="2023-03-13T22:21:04.210" v="173" actId="1076"/>
        <pc:sldMkLst>
          <pc:docMk/>
          <pc:sldMk cId="1388671151" sldId="289"/>
        </pc:sldMkLst>
        <pc:picChg chg="add mod">
          <ac:chgData name="Roberto Gallardo" userId="49a044883f185952" providerId="LiveId" clId="{38032942-21BC-43EF-B726-11AE8B797ED9}" dt="2023-03-13T22:21:04.210" v="173" actId="1076"/>
          <ac:picMkLst>
            <pc:docMk/>
            <pc:sldMk cId="1388671151" sldId="289"/>
            <ac:picMk id="7" creationId="{D4658554-BF6E-D841-993B-39838822D401}"/>
          </ac:picMkLst>
        </pc:picChg>
      </pc:sldChg>
      <pc:sldChg chg="addSp modSp mod">
        <pc:chgData name="Roberto Gallardo" userId="49a044883f185952" providerId="LiveId" clId="{38032942-21BC-43EF-B726-11AE8B797ED9}" dt="2023-03-13T22:21:35.349" v="208" actId="1036"/>
        <pc:sldMkLst>
          <pc:docMk/>
          <pc:sldMk cId="2355376039" sldId="290"/>
        </pc:sldMkLst>
        <pc:picChg chg="add mod">
          <ac:chgData name="Roberto Gallardo" userId="49a044883f185952" providerId="LiveId" clId="{38032942-21BC-43EF-B726-11AE8B797ED9}" dt="2023-03-13T22:21:35.349" v="208" actId="1036"/>
          <ac:picMkLst>
            <pc:docMk/>
            <pc:sldMk cId="2355376039" sldId="290"/>
            <ac:picMk id="8" creationId="{4C78C605-BD84-9759-54BB-586C35998EF3}"/>
          </ac:picMkLst>
        </pc:picChg>
      </pc:sldChg>
      <pc:sldChg chg="addSp modSp mod">
        <pc:chgData name="Roberto Gallardo" userId="49a044883f185952" providerId="LiveId" clId="{38032942-21BC-43EF-B726-11AE8B797ED9}" dt="2023-03-13T22:21:54.622" v="242" actId="1036"/>
        <pc:sldMkLst>
          <pc:docMk/>
          <pc:sldMk cId="3757257295" sldId="291"/>
        </pc:sldMkLst>
        <pc:picChg chg="add mod">
          <ac:chgData name="Roberto Gallardo" userId="49a044883f185952" providerId="LiveId" clId="{38032942-21BC-43EF-B726-11AE8B797ED9}" dt="2023-03-13T22:21:54.622" v="242" actId="1036"/>
          <ac:picMkLst>
            <pc:docMk/>
            <pc:sldMk cId="3757257295" sldId="291"/>
            <ac:picMk id="8" creationId="{813A97AA-51D6-AD0A-4A72-BCF3D6C5C0A6}"/>
          </ac:picMkLst>
        </pc:picChg>
      </pc:sldChg>
      <pc:sldChg chg="addSp modSp mod">
        <pc:chgData name="Roberto Gallardo" userId="49a044883f185952" providerId="LiveId" clId="{38032942-21BC-43EF-B726-11AE8B797ED9}" dt="2023-03-13T22:20:30.449" v="144" actId="1076"/>
        <pc:sldMkLst>
          <pc:docMk/>
          <pc:sldMk cId="1259856727" sldId="292"/>
        </pc:sldMkLst>
        <pc:picChg chg="add mod">
          <ac:chgData name="Roberto Gallardo" userId="49a044883f185952" providerId="LiveId" clId="{38032942-21BC-43EF-B726-11AE8B797ED9}" dt="2023-03-13T22:20:30.449" v="144" actId="1076"/>
          <ac:picMkLst>
            <pc:docMk/>
            <pc:sldMk cId="1259856727" sldId="292"/>
            <ac:picMk id="7" creationId="{63C6B912-BDDA-9E26-76AE-FFE24646BF16}"/>
          </ac:picMkLst>
        </pc:picChg>
      </pc:sldChg>
      <pc:sldChg chg="addSp modSp mod">
        <pc:chgData name="Roberto Gallardo" userId="49a044883f185952" providerId="LiveId" clId="{38032942-21BC-43EF-B726-11AE8B797ED9}" dt="2023-03-13T22:18:19.401" v="53" actId="1076"/>
        <pc:sldMkLst>
          <pc:docMk/>
          <pc:sldMk cId="3324519687" sldId="293"/>
        </pc:sldMkLst>
        <pc:picChg chg="add mod">
          <ac:chgData name="Roberto Gallardo" userId="49a044883f185952" providerId="LiveId" clId="{38032942-21BC-43EF-B726-11AE8B797ED9}" dt="2023-03-13T22:18:19.401" v="53" actId="1076"/>
          <ac:picMkLst>
            <pc:docMk/>
            <pc:sldMk cId="3324519687" sldId="293"/>
            <ac:picMk id="7" creationId="{252D00B0-B82B-E1BE-9480-F07C9FDFF7CF}"/>
          </ac:picMkLst>
        </pc:picChg>
      </pc:sldChg>
      <pc:sldChg chg="addSp modSp mod">
        <pc:chgData name="Roberto Gallardo" userId="49a044883f185952" providerId="LiveId" clId="{38032942-21BC-43EF-B726-11AE8B797ED9}" dt="2023-03-13T22:17:51.082" v="37" actId="1076"/>
        <pc:sldMkLst>
          <pc:docMk/>
          <pc:sldMk cId="3256182630" sldId="295"/>
        </pc:sldMkLst>
        <pc:picChg chg="add mod">
          <ac:chgData name="Roberto Gallardo" userId="49a044883f185952" providerId="LiveId" clId="{38032942-21BC-43EF-B726-11AE8B797ED9}" dt="2023-03-13T22:17:51.082" v="37" actId="1076"/>
          <ac:picMkLst>
            <pc:docMk/>
            <pc:sldMk cId="3256182630" sldId="295"/>
            <ac:picMk id="7" creationId="{594E84B7-4C69-EDFE-A229-9057E14B6E35}"/>
          </ac:picMkLst>
        </pc:picChg>
      </pc:sldChg>
      <pc:sldChg chg="addSp modSp mod">
        <pc:chgData name="Roberto Gallardo" userId="49a044883f185952" providerId="LiveId" clId="{38032942-21BC-43EF-B726-11AE8B797ED9}" dt="2023-03-13T22:18:04.523" v="44" actId="1076"/>
        <pc:sldMkLst>
          <pc:docMk/>
          <pc:sldMk cId="4057156843" sldId="296"/>
        </pc:sldMkLst>
        <pc:picChg chg="add mod">
          <ac:chgData name="Roberto Gallardo" userId="49a044883f185952" providerId="LiveId" clId="{38032942-21BC-43EF-B726-11AE8B797ED9}" dt="2023-03-13T22:18:04.523" v="44" actId="1076"/>
          <ac:picMkLst>
            <pc:docMk/>
            <pc:sldMk cId="4057156843" sldId="296"/>
            <ac:picMk id="7" creationId="{502F47E3-4924-F3C9-F0D1-6695C6AE0D7F}"/>
          </ac:picMkLst>
        </pc:picChg>
      </pc:sldChg>
      <pc:sldChg chg="addSp modSp mod">
        <pc:chgData name="Roberto Gallardo" userId="49a044883f185952" providerId="LiveId" clId="{38032942-21BC-43EF-B726-11AE8B797ED9}" dt="2023-03-13T22:17:34.394" v="30" actId="1076"/>
        <pc:sldMkLst>
          <pc:docMk/>
          <pc:sldMk cId="2080110827" sldId="297"/>
        </pc:sldMkLst>
        <pc:picChg chg="add mod">
          <ac:chgData name="Roberto Gallardo" userId="49a044883f185952" providerId="LiveId" clId="{38032942-21BC-43EF-B726-11AE8B797ED9}" dt="2023-03-13T22:17:34.394" v="30" actId="1076"/>
          <ac:picMkLst>
            <pc:docMk/>
            <pc:sldMk cId="2080110827" sldId="297"/>
            <ac:picMk id="6" creationId="{92672536-35DD-EEB6-9CCD-3B117D2ECD99}"/>
          </ac:picMkLst>
        </pc:picChg>
      </pc:sldChg>
      <pc:sldChg chg="addSp modSp mod">
        <pc:chgData name="Roberto Gallardo" userId="49a044883f185952" providerId="LiveId" clId="{38032942-21BC-43EF-B726-11AE8B797ED9}" dt="2023-03-13T22:17:14.658" v="19" actId="1076"/>
        <pc:sldMkLst>
          <pc:docMk/>
          <pc:sldMk cId="1532666867" sldId="298"/>
        </pc:sldMkLst>
        <pc:picChg chg="add mod">
          <ac:chgData name="Roberto Gallardo" userId="49a044883f185952" providerId="LiveId" clId="{38032942-21BC-43EF-B726-11AE8B797ED9}" dt="2023-03-13T22:17:14.658" v="19" actId="1076"/>
          <ac:picMkLst>
            <pc:docMk/>
            <pc:sldMk cId="1532666867" sldId="298"/>
            <ac:picMk id="6" creationId="{C83626A2-BEF1-3A22-0633-1C9184B182E5}"/>
          </ac:picMkLst>
        </pc:picChg>
      </pc:sldChg>
      <pc:sldChg chg="addSp modSp mod">
        <pc:chgData name="Roberto Gallardo" userId="49a044883f185952" providerId="LiveId" clId="{38032942-21BC-43EF-B726-11AE8B797ED9}" dt="2023-03-13T22:21:20.137" v="192" actId="1036"/>
        <pc:sldMkLst>
          <pc:docMk/>
          <pc:sldMk cId="1951376777" sldId="299"/>
        </pc:sldMkLst>
        <pc:picChg chg="add mod">
          <ac:chgData name="Roberto Gallardo" userId="49a044883f185952" providerId="LiveId" clId="{38032942-21BC-43EF-B726-11AE8B797ED9}" dt="2023-03-13T22:21:20.137" v="192" actId="1036"/>
          <ac:picMkLst>
            <pc:docMk/>
            <pc:sldMk cId="1951376777" sldId="299"/>
            <ac:picMk id="7" creationId="{F9D628B6-9E66-47B6-6D62-F4842EB44152}"/>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a:solidFill>
                  <a:schemeClr val="bg1"/>
                </a:solidFill>
              </a:rPr>
              <a:t>Davidson </a:t>
            </a:r>
            <a:r>
              <a:rPr lang="en-US" sz="4000" dirty="0">
                <a:solidFill>
                  <a:schemeClr val="bg1"/>
                </a:solidFill>
              </a:rPr>
              <a:t>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E0813E9-03A0-7F2D-06F8-1B05D98F238F}"/>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9D925F4E-182F-D9D0-96C2-9A16B9A517B4}"/>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738480D9-ED63-0CEE-3C33-C006A155C9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40378"/>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C83626A2-BEF1-3A22-0633-1C9184B182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92672536-35DD-EEB6-9CCD-3B117D2ECD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28700"/>
            <a:ext cx="7596755"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65AA99C6-FAB8-9404-6A6B-397F07F820D7}"/>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594E84B7-4C69-EDFE-A229-9057E14B6E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2331450-4F7A-F3AB-7D48-2035990A7B99}"/>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502F47E3-4924-F3C9-F0D1-6695C6AE0D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2514"/>
            <a:ext cx="6400800"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CA6402F1-C90F-E07C-8F1A-9758F6C27B80}"/>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252D00B0-B82B-E1BE-9480-F07C9FDFF7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A1A9B9B-EBC1-D2D1-5C96-A48CF8126C95}"/>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BEF778FC-63D0-5219-412C-3432534B18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F613F7A-0722-4728-FF4E-20D10FC40EB8}"/>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7694166A-A498-F0BE-50BB-BD5C333EB0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251973F-D8DD-D79C-B80C-60E8DB0EDF5A}"/>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E8079F3D-C411-5367-0638-FDEEDA63F8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28"/>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95A4945-A2B0-0683-D163-3C56C6E827F2}"/>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A31CF2A6-6CD5-5D33-823B-B3060957EC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8B6A6A0-1F4D-F264-BE6B-3ED74064C855}"/>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0327953F-A6C8-9541-C521-EC005B93CB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5453" y="1408742"/>
            <a:ext cx="6394147" cy="4521666"/>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F14987E-642D-2012-F405-A59D94F948D3}"/>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6F9D4DDF-FA4E-3E04-334D-33FCAD860A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683"/>
            <a:ext cx="6396665" cy="4523448"/>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74B74DF-649F-A3BF-2CDB-9613FCB0FEF8}"/>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CD1BEAD2-1D64-8F88-A8AE-F261E12D47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585"/>
            <a:ext cx="6390931" cy="451939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C4B009C-DB2F-E9F9-798A-FDA3123FDD60}"/>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63C6B912-BDDA-9E26-76AE-FFE24646BF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4"/>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9754465-FD8B-3D91-C594-3582EB4C8FBD}"/>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45DB244B-D4B1-CB2F-A2B2-2B50BE85E2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5BFA8AD-8549-0626-1C33-2B91019553AE}"/>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D4658554-BF6E-D841-993B-39838822D4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42FA9F7E-DAC2-632D-3DA7-390A7D04DAC8}"/>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F9D628B6-9E66-47B6-6D62-F4842EB441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2308"/>
            <a:ext cx="6400801"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C914D6BC-FF91-4A99-2686-2C5171E75E60}"/>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4C78C605-BD84-9759-54BB-586C35998E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2159"/>
            <a:ext cx="6396788" cy="4523535"/>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B9696CF6-793C-5383-E78D-E324A09C0587}"/>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F04B32C7-2C20-6240-772B-9A5672E6EFC4}"/>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813A97AA-51D6-AD0A-4A72-BCF3D6C5C0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3562"/>
            <a:ext cx="6391843" cy="4520038"/>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4D6C46C5-B8F8-A6E7-882D-6791E3E0D4E5}"/>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2E06C38-561D-47BE-2172-77A25474BD2D}"/>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60F4E05-6526-0FA7-46D9-EBFDED3CF985}"/>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36350"/>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67159" y="2424223"/>
            <a:ext cx="1198148" cy="2215604"/>
            <a:chOff x="10485745" y="2674707"/>
            <a:chExt cx="1198148" cy="2215604"/>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58165"/>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1</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6747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674707"/>
              <a:ext cx="0" cy="68345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250717"/>
              <a:ext cx="0" cy="63959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125854"/>
            <a:ext cx="1198148" cy="2444917"/>
            <a:chOff x="2775759" y="2099890"/>
            <a:chExt cx="1198148" cy="244491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87690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0998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099890"/>
              <a:ext cx="0" cy="7770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69460"/>
              <a:ext cx="0" cy="7753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B4BC0F93-B051-192F-4D92-488FD5D711DF}"/>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086D5BEC-924D-625C-967C-4BEFB8CB6FDD}"/>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713CEC3-F7C2-086B-DC53-621ED6DAB48E}"/>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73689D21-641A-01B8-0038-E8844E12FD39}"/>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08B57E6-72D2-B689-52F1-23E947376377}"/>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8AD722D-359B-C4CC-ABDC-AF430A6E35B6}"/>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50D8D4D0-7CDD-B449-A06A-02F48267B99B}"/>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814FE5B7-6291-1D3C-F07E-87E1657F6900}"/>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14</TotalTime>
  <Words>1463</Words>
  <Application>Microsoft Office PowerPoint</Application>
  <PresentationFormat>Widescreen</PresentationFormat>
  <Paragraphs>136</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58</cp:revision>
  <dcterms:created xsi:type="dcterms:W3CDTF">2022-07-04T13:32:28Z</dcterms:created>
  <dcterms:modified xsi:type="dcterms:W3CDTF">2023-03-13T22:21:56Z</dcterms:modified>
</cp:coreProperties>
</file>